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29" r:id="rId2"/>
  </p:sldMasterIdLst>
  <p:notesMasterIdLst>
    <p:notesMasterId r:id="rId15"/>
  </p:notesMasterIdLst>
  <p:handoutMasterIdLst>
    <p:handoutMasterId r:id="rId16"/>
  </p:handoutMasterIdLst>
  <p:sldIdLst>
    <p:sldId id="257" r:id="rId3"/>
    <p:sldId id="1185" r:id="rId4"/>
    <p:sldId id="1189" r:id="rId5"/>
    <p:sldId id="1190" r:id="rId6"/>
    <p:sldId id="1182" r:id="rId7"/>
    <p:sldId id="1181" r:id="rId8"/>
    <p:sldId id="1183" r:id="rId9"/>
    <p:sldId id="1188" r:id="rId10"/>
    <p:sldId id="1186" r:id="rId11"/>
    <p:sldId id="1187" r:id="rId12"/>
    <p:sldId id="1180" r:id="rId13"/>
    <p:sldId id="1172" r:id="rId14"/>
  </p:sldIdLst>
  <p:sldSz cx="12192000" cy="6858000"/>
  <p:notesSz cx="6797675" cy="9928225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dney Mark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81" d="100"/>
          <a:sy n="81" d="100"/>
        </p:scale>
        <p:origin x="725" y="7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B72BE44-219F-4502-8251-A603A0117A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09B59B-DC02-4573-9E8D-DCA9A5BEF0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85D76CAD-AB96-407D-9F2E-5C7CD3E1ACF2}" type="datetimeFigureOut">
              <a:rPr lang="en-US"/>
              <a:pPr>
                <a:defRPr/>
              </a:pPr>
              <a:t>10/5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7C1CB9-D987-4683-BEA1-FD4AD9D148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90C908-DC9D-4721-ADA6-72AC5B5F03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20380D6-A919-4290-AA5C-7B72B2C132F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4D439A8-2653-40D0-B5F7-04DFDE448B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69717E-FF23-4911-8D7F-7F8D1BA8057D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E0053E86-25A3-4471-8F93-665985BB33E5}" type="datetimeFigureOut">
              <a:rPr lang="en-GB"/>
              <a:pPr>
                <a:defRPr/>
              </a:pPr>
              <a:t>05/10/2022</a:t>
            </a:fld>
            <a:endParaRPr lang="en-GB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03075FA-5287-4A33-88F3-8C3A45D2689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3E56BC4-EA7F-4B3F-8B45-51695C9F12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8DAF1C-5FAD-400D-A6E2-0E7EDF863D5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A292C7-D165-4BD4-8653-04607D1403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E5825005-D5C2-4260-B553-EE9ECFDE903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B4F840-854B-467F-8F3E-A58719F38C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420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ahoma"/>
                <a:cs typeface="Tahom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649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577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180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ahoma"/>
                <a:cs typeface="Tahom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394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630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Tahoma"/>
                <a:cs typeface="Tahom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579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ahoma"/>
                <a:cs typeface="Tahoma"/>
              </a:defRPr>
            </a:lvl1pPr>
            <a:lvl2pPr>
              <a:defRPr sz="2400">
                <a:latin typeface="Tahoma"/>
                <a:cs typeface="Tahoma"/>
              </a:defRPr>
            </a:lvl2pPr>
            <a:lvl3pPr>
              <a:defRPr sz="2000">
                <a:latin typeface="Tahoma"/>
                <a:cs typeface="Tahoma"/>
              </a:defRPr>
            </a:lvl3pPr>
            <a:lvl4pPr>
              <a:defRPr sz="1800">
                <a:latin typeface="Tahoma"/>
                <a:cs typeface="Tahoma"/>
              </a:defRPr>
            </a:lvl4pPr>
            <a:lvl5pPr>
              <a:defRPr sz="18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ahoma"/>
                <a:cs typeface="Tahoma"/>
              </a:defRPr>
            </a:lvl1pPr>
            <a:lvl2pPr>
              <a:defRPr sz="2400">
                <a:latin typeface="Tahoma"/>
                <a:cs typeface="Tahoma"/>
              </a:defRPr>
            </a:lvl2pPr>
            <a:lvl3pPr>
              <a:defRPr sz="2000">
                <a:latin typeface="Tahoma"/>
                <a:cs typeface="Tahoma"/>
              </a:defRPr>
            </a:lvl3pPr>
            <a:lvl4pPr>
              <a:defRPr sz="1800">
                <a:latin typeface="Tahoma"/>
                <a:cs typeface="Tahoma"/>
              </a:defRPr>
            </a:lvl4pPr>
            <a:lvl5pPr>
              <a:defRPr sz="18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189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ahoma"/>
                <a:cs typeface="Tahoma"/>
              </a:defRPr>
            </a:lvl1pPr>
            <a:lvl2pPr>
              <a:defRPr sz="2000">
                <a:latin typeface="Tahoma"/>
                <a:cs typeface="Tahoma"/>
              </a:defRPr>
            </a:lvl2pPr>
            <a:lvl3pPr>
              <a:defRPr sz="1800">
                <a:latin typeface="Tahoma"/>
                <a:cs typeface="Tahoma"/>
              </a:defRPr>
            </a:lvl3pPr>
            <a:lvl4pPr>
              <a:defRPr sz="1600">
                <a:latin typeface="Tahoma"/>
                <a:cs typeface="Tahoma"/>
              </a:defRPr>
            </a:lvl4pPr>
            <a:lvl5pPr>
              <a:defRPr sz="16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ahoma"/>
                <a:cs typeface="Tahoma"/>
              </a:defRPr>
            </a:lvl1pPr>
            <a:lvl2pPr>
              <a:defRPr sz="2000">
                <a:latin typeface="Tahoma"/>
                <a:cs typeface="Tahoma"/>
              </a:defRPr>
            </a:lvl2pPr>
            <a:lvl3pPr>
              <a:defRPr sz="1800">
                <a:latin typeface="Tahoma"/>
                <a:cs typeface="Tahoma"/>
              </a:defRPr>
            </a:lvl3pPr>
            <a:lvl4pPr>
              <a:defRPr sz="1600">
                <a:latin typeface="Tahoma"/>
                <a:cs typeface="Tahoma"/>
              </a:defRPr>
            </a:lvl4pPr>
            <a:lvl5pPr>
              <a:defRPr sz="16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8343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2117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5874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Tahoma"/>
                <a:cs typeface="Tahoma"/>
              </a:defRPr>
            </a:lvl1pPr>
            <a:lvl2pPr>
              <a:defRPr sz="2800">
                <a:latin typeface="Tahoma"/>
                <a:cs typeface="Tahoma"/>
              </a:defRPr>
            </a:lvl2pPr>
            <a:lvl3pPr>
              <a:defRPr sz="2400">
                <a:latin typeface="Tahoma"/>
                <a:cs typeface="Tahoma"/>
              </a:defRPr>
            </a:lvl3pPr>
            <a:lvl4pPr>
              <a:defRPr sz="2000">
                <a:latin typeface="Tahoma"/>
                <a:cs typeface="Tahoma"/>
              </a:defRPr>
            </a:lvl4pPr>
            <a:lvl5pPr>
              <a:defRPr sz="2000">
                <a:latin typeface="Tahoma"/>
                <a:cs typeface="Tahom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3126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289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44795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6512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163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60" r="35580" b="3435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00129" y="1969672"/>
            <a:ext cx="10595508" cy="415498"/>
          </a:xfrm>
        </p:spPr>
        <p:txBody>
          <a:bodyPr vert="horz" anchor="t">
            <a:spAutoFit/>
          </a:bodyPr>
          <a:lstStyle>
            <a:lvl1pPr algn="l">
              <a:defRPr sz="3000" b="1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0129" y="2669043"/>
            <a:ext cx="10595054" cy="246221"/>
          </a:xfrm>
        </p:spPr>
        <p:txBody>
          <a:bodyPr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900129" y="6093281"/>
            <a:ext cx="2325672" cy="215444"/>
          </a:xfrm>
        </p:spPr>
        <p:txBody>
          <a:bodyPr wrap="square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endParaRPr lang="en-US" dirty="0"/>
          </a:p>
        </p:txBody>
      </p:sp>
      <p:grpSp>
        <p:nvGrpSpPr>
          <p:cNvPr id="5" name="Group 37"/>
          <p:cNvGrpSpPr>
            <a:grpSpLocks noChangeAspect="1"/>
          </p:cNvGrpSpPr>
          <p:nvPr userDrawn="1"/>
        </p:nvGrpSpPr>
        <p:grpSpPr bwMode="auto">
          <a:xfrm>
            <a:off x="8896350" y="523875"/>
            <a:ext cx="2776539" cy="915462"/>
            <a:chOff x="2178" y="1614"/>
            <a:chExt cx="3315" cy="1093"/>
          </a:xfrm>
          <a:solidFill>
            <a:schemeClr val="bg1"/>
          </a:solidFill>
        </p:grpSpPr>
        <p:sp>
          <p:nvSpPr>
            <p:cNvPr id="8" name="Freeform 38"/>
            <p:cNvSpPr>
              <a:spLocks noEditPoints="1"/>
            </p:cNvSpPr>
            <p:nvPr userDrawn="1"/>
          </p:nvSpPr>
          <p:spPr bwMode="auto">
            <a:xfrm>
              <a:off x="2178" y="1614"/>
              <a:ext cx="3315" cy="602"/>
            </a:xfrm>
            <a:custGeom>
              <a:avLst/>
              <a:gdLst>
                <a:gd name="T0" fmla="*/ 14 w 1403"/>
                <a:gd name="T1" fmla="*/ 27 h 255"/>
                <a:gd name="T2" fmla="*/ 353 w 1403"/>
                <a:gd name="T3" fmla="*/ 38 h 255"/>
                <a:gd name="T4" fmla="*/ 408 w 1403"/>
                <a:gd name="T5" fmla="*/ 62 h 255"/>
                <a:gd name="T6" fmla="*/ 575 w 1403"/>
                <a:gd name="T7" fmla="*/ 216 h 255"/>
                <a:gd name="T8" fmla="*/ 563 w 1403"/>
                <a:gd name="T9" fmla="*/ 246 h 255"/>
                <a:gd name="T10" fmla="*/ 254 w 1403"/>
                <a:gd name="T11" fmla="*/ 238 h 255"/>
                <a:gd name="T12" fmla="*/ 205 w 1403"/>
                <a:gd name="T13" fmla="*/ 216 h 255"/>
                <a:gd name="T14" fmla="*/ 8 w 1403"/>
                <a:gd name="T15" fmla="*/ 47 h 255"/>
                <a:gd name="T16" fmla="*/ 14 w 1403"/>
                <a:gd name="T17" fmla="*/ 27 h 255"/>
                <a:gd name="T18" fmla="*/ 447 w 1403"/>
                <a:gd name="T19" fmla="*/ 56 h 255"/>
                <a:gd name="T20" fmla="*/ 646 w 1403"/>
                <a:gd name="T21" fmla="*/ 238 h 255"/>
                <a:gd name="T22" fmla="*/ 705 w 1403"/>
                <a:gd name="T23" fmla="*/ 238 h 255"/>
                <a:gd name="T24" fmla="*/ 903 w 1403"/>
                <a:gd name="T25" fmla="*/ 58 h 255"/>
                <a:gd name="T26" fmla="*/ 895 w 1403"/>
                <a:gd name="T27" fmla="*/ 36 h 255"/>
                <a:gd name="T28" fmla="*/ 451 w 1403"/>
                <a:gd name="T29" fmla="*/ 36 h 255"/>
                <a:gd name="T30" fmla="*/ 447 w 1403"/>
                <a:gd name="T31" fmla="*/ 56 h 255"/>
                <a:gd name="T32" fmla="*/ 1332 w 1403"/>
                <a:gd name="T33" fmla="*/ 27 h 255"/>
                <a:gd name="T34" fmla="*/ 993 w 1403"/>
                <a:gd name="T35" fmla="*/ 38 h 255"/>
                <a:gd name="T36" fmla="*/ 938 w 1403"/>
                <a:gd name="T37" fmla="*/ 62 h 255"/>
                <a:gd name="T38" fmla="*/ 771 w 1403"/>
                <a:gd name="T39" fmla="*/ 216 h 255"/>
                <a:gd name="T40" fmla="*/ 783 w 1403"/>
                <a:gd name="T41" fmla="*/ 246 h 255"/>
                <a:gd name="T42" fmla="*/ 1093 w 1403"/>
                <a:gd name="T43" fmla="*/ 238 h 255"/>
                <a:gd name="T44" fmla="*/ 1141 w 1403"/>
                <a:gd name="T45" fmla="*/ 216 h 255"/>
                <a:gd name="T46" fmla="*/ 1338 w 1403"/>
                <a:gd name="T47" fmla="*/ 47 h 255"/>
                <a:gd name="T48" fmla="*/ 1332 w 1403"/>
                <a:gd name="T49" fmla="*/ 27 h 255"/>
                <a:gd name="T50" fmla="*/ 1362 w 1403"/>
                <a:gd name="T51" fmla="*/ 5 h 255"/>
                <a:gd name="T52" fmla="*/ 1355 w 1403"/>
                <a:gd name="T53" fmla="*/ 5 h 255"/>
                <a:gd name="T54" fmla="*/ 1355 w 1403"/>
                <a:gd name="T55" fmla="*/ 0 h 255"/>
                <a:gd name="T56" fmla="*/ 1374 w 1403"/>
                <a:gd name="T57" fmla="*/ 0 h 255"/>
                <a:gd name="T58" fmla="*/ 1374 w 1403"/>
                <a:gd name="T59" fmla="*/ 5 h 255"/>
                <a:gd name="T60" fmla="*/ 1367 w 1403"/>
                <a:gd name="T61" fmla="*/ 5 h 255"/>
                <a:gd name="T62" fmla="*/ 1367 w 1403"/>
                <a:gd name="T63" fmla="*/ 28 h 255"/>
                <a:gd name="T64" fmla="*/ 1362 w 1403"/>
                <a:gd name="T65" fmla="*/ 28 h 255"/>
                <a:gd name="T66" fmla="*/ 1362 w 1403"/>
                <a:gd name="T67" fmla="*/ 5 h 255"/>
                <a:gd name="T68" fmla="*/ 1398 w 1403"/>
                <a:gd name="T69" fmla="*/ 17 h 255"/>
                <a:gd name="T70" fmla="*/ 1398 w 1403"/>
                <a:gd name="T71" fmla="*/ 5 h 255"/>
                <a:gd name="T72" fmla="*/ 1398 w 1403"/>
                <a:gd name="T73" fmla="*/ 5 h 255"/>
                <a:gd name="T74" fmla="*/ 1395 w 1403"/>
                <a:gd name="T75" fmla="*/ 16 h 255"/>
                <a:gd name="T76" fmla="*/ 1391 w 1403"/>
                <a:gd name="T77" fmla="*/ 28 h 255"/>
                <a:gd name="T78" fmla="*/ 1388 w 1403"/>
                <a:gd name="T79" fmla="*/ 28 h 255"/>
                <a:gd name="T80" fmla="*/ 1384 w 1403"/>
                <a:gd name="T81" fmla="*/ 16 h 255"/>
                <a:gd name="T82" fmla="*/ 1382 w 1403"/>
                <a:gd name="T83" fmla="*/ 5 h 255"/>
                <a:gd name="T84" fmla="*/ 1382 w 1403"/>
                <a:gd name="T85" fmla="*/ 5 h 255"/>
                <a:gd name="T86" fmla="*/ 1381 w 1403"/>
                <a:gd name="T87" fmla="*/ 17 h 255"/>
                <a:gd name="T88" fmla="*/ 1381 w 1403"/>
                <a:gd name="T89" fmla="*/ 28 h 255"/>
                <a:gd name="T90" fmla="*/ 1376 w 1403"/>
                <a:gd name="T91" fmla="*/ 28 h 255"/>
                <a:gd name="T92" fmla="*/ 1378 w 1403"/>
                <a:gd name="T93" fmla="*/ 0 h 255"/>
                <a:gd name="T94" fmla="*/ 1384 w 1403"/>
                <a:gd name="T95" fmla="*/ 0 h 255"/>
                <a:gd name="T96" fmla="*/ 1387 w 1403"/>
                <a:gd name="T97" fmla="*/ 12 h 255"/>
                <a:gd name="T98" fmla="*/ 1390 w 1403"/>
                <a:gd name="T99" fmla="*/ 21 h 255"/>
                <a:gd name="T100" fmla="*/ 1390 w 1403"/>
                <a:gd name="T101" fmla="*/ 21 h 255"/>
                <a:gd name="T102" fmla="*/ 1392 w 1403"/>
                <a:gd name="T103" fmla="*/ 11 h 255"/>
                <a:gd name="T104" fmla="*/ 1396 w 1403"/>
                <a:gd name="T105" fmla="*/ 0 h 255"/>
                <a:gd name="T106" fmla="*/ 1402 w 1403"/>
                <a:gd name="T107" fmla="*/ 0 h 255"/>
                <a:gd name="T108" fmla="*/ 1403 w 1403"/>
                <a:gd name="T109" fmla="*/ 28 h 255"/>
                <a:gd name="T110" fmla="*/ 1399 w 1403"/>
                <a:gd name="T111" fmla="*/ 28 h 255"/>
                <a:gd name="T112" fmla="*/ 1398 w 1403"/>
                <a:gd name="T113" fmla="*/ 1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03" h="255">
                  <a:moveTo>
                    <a:pt x="14" y="27"/>
                  </a:moveTo>
                  <a:cubicBezTo>
                    <a:pt x="353" y="38"/>
                    <a:pt x="353" y="38"/>
                    <a:pt x="353" y="38"/>
                  </a:cubicBezTo>
                  <a:cubicBezTo>
                    <a:pt x="353" y="38"/>
                    <a:pt x="386" y="39"/>
                    <a:pt x="408" y="62"/>
                  </a:cubicBezTo>
                  <a:cubicBezTo>
                    <a:pt x="432" y="87"/>
                    <a:pt x="562" y="205"/>
                    <a:pt x="575" y="216"/>
                  </a:cubicBezTo>
                  <a:cubicBezTo>
                    <a:pt x="587" y="228"/>
                    <a:pt x="585" y="247"/>
                    <a:pt x="563" y="246"/>
                  </a:cubicBezTo>
                  <a:cubicBezTo>
                    <a:pt x="541" y="245"/>
                    <a:pt x="376" y="246"/>
                    <a:pt x="254" y="238"/>
                  </a:cubicBezTo>
                  <a:cubicBezTo>
                    <a:pt x="229" y="235"/>
                    <a:pt x="219" y="230"/>
                    <a:pt x="205" y="216"/>
                  </a:cubicBezTo>
                  <a:cubicBezTo>
                    <a:pt x="190" y="203"/>
                    <a:pt x="25" y="63"/>
                    <a:pt x="8" y="47"/>
                  </a:cubicBezTo>
                  <a:cubicBezTo>
                    <a:pt x="1" y="41"/>
                    <a:pt x="0" y="27"/>
                    <a:pt x="14" y="27"/>
                  </a:cubicBezTo>
                  <a:moveTo>
                    <a:pt x="447" y="56"/>
                  </a:moveTo>
                  <a:cubicBezTo>
                    <a:pt x="454" y="62"/>
                    <a:pt x="638" y="230"/>
                    <a:pt x="646" y="238"/>
                  </a:cubicBezTo>
                  <a:cubicBezTo>
                    <a:pt x="654" y="246"/>
                    <a:pt x="688" y="255"/>
                    <a:pt x="705" y="238"/>
                  </a:cubicBezTo>
                  <a:cubicBezTo>
                    <a:pt x="738" y="205"/>
                    <a:pt x="890" y="67"/>
                    <a:pt x="903" y="58"/>
                  </a:cubicBezTo>
                  <a:cubicBezTo>
                    <a:pt x="912" y="52"/>
                    <a:pt x="905" y="35"/>
                    <a:pt x="895" y="36"/>
                  </a:cubicBezTo>
                  <a:cubicBezTo>
                    <a:pt x="704" y="41"/>
                    <a:pt x="451" y="36"/>
                    <a:pt x="451" y="36"/>
                  </a:cubicBezTo>
                  <a:cubicBezTo>
                    <a:pt x="441" y="36"/>
                    <a:pt x="440" y="50"/>
                    <a:pt x="447" y="56"/>
                  </a:cubicBezTo>
                  <a:moveTo>
                    <a:pt x="1332" y="27"/>
                  </a:moveTo>
                  <a:cubicBezTo>
                    <a:pt x="993" y="38"/>
                    <a:pt x="993" y="38"/>
                    <a:pt x="993" y="38"/>
                  </a:cubicBezTo>
                  <a:cubicBezTo>
                    <a:pt x="993" y="38"/>
                    <a:pt x="960" y="39"/>
                    <a:pt x="938" y="62"/>
                  </a:cubicBezTo>
                  <a:cubicBezTo>
                    <a:pt x="914" y="87"/>
                    <a:pt x="784" y="205"/>
                    <a:pt x="771" y="216"/>
                  </a:cubicBezTo>
                  <a:cubicBezTo>
                    <a:pt x="759" y="228"/>
                    <a:pt x="761" y="247"/>
                    <a:pt x="783" y="246"/>
                  </a:cubicBezTo>
                  <a:cubicBezTo>
                    <a:pt x="804" y="245"/>
                    <a:pt x="970" y="246"/>
                    <a:pt x="1093" y="238"/>
                  </a:cubicBezTo>
                  <a:cubicBezTo>
                    <a:pt x="1117" y="235"/>
                    <a:pt x="1127" y="230"/>
                    <a:pt x="1141" y="216"/>
                  </a:cubicBezTo>
                  <a:cubicBezTo>
                    <a:pt x="1156" y="203"/>
                    <a:pt x="1321" y="63"/>
                    <a:pt x="1338" y="47"/>
                  </a:cubicBezTo>
                  <a:cubicBezTo>
                    <a:pt x="1345" y="41"/>
                    <a:pt x="1346" y="27"/>
                    <a:pt x="1332" y="27"/>
                  </a:cubicBezTo>
                  <a:moveTo>
                    <a:pt x="1362" y="5"/>
                  </a:moveTo>
                  <a:cubicBezTo>
                    <a:pt x="1355" y="5"/>
                    <a:pt x="1355" y="5"/>
                    <a:pt x="1355" y="5"/>
                  </a:cubicBezTo>
                  <a:cubicBezTo>
                    <a:pt x="1355" y="0"/>
                    <a:pt x="1355" y="0"/>
                    <a:pt x="1355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374" y="5"/>
                    <a:pt x="1374" y="5"/>
                    <a:pt x="1374" y="5"/>
                  </a:cubicBezTo>
                  <a:cubicBezTo>
                    <a:pt x="1367" y="5"/>
                    <a:pt x="1367" y="5"/>
                    <a:pt x="1367" y="5"/>
                  </a:cubicBezTo>
                  <a:cubicBezTo>
                    <a:pt x="1367" y="28"/>
                    <a:pt x="1367" y="28"/>
                    <a:pt x="1367" y="28"/>
                  </a:cubicBezTo>
                  <a:cubicBezTo>
                    <a:pt x="1362" y="28"/>
                    <a:pt x="1362" y="28"/>
                    <a:pt x="1362" y="28"/>
                  </a:cubicBezTo>
                  <a:lnTo>
                    <a:pt x="1362" y="5"/>
                  </a:lnTo>
                  <a:close/>
                  <a:moveTo>
                    <a:pt x="1398" y="17"/>
                  </a:moveTo>
                  <a:cubicBezTo>
                    <a:pt x="1398" y="13"/>
                    <a:pt x="1398" y="9"/>
                    <a:pt x="1398" y="5"/>
                  </a:cubicBezTo>
                  <a:cubicBezTo>
                    <a:pt x="1398" y="5"/>
                    <a:pt x="1398" y="5"/>
                    <a:pt x="1398" y="5"/>
                  </a:cubicBezTo>
                  <a:cubicBezTo>
                    <a:pt x="1397" y="8"/>
                    <a:pt x="1396" y="12"/>
                    <a:pt x="1395" y="16"/>
                  </a:cubicBezTo>
                  <a:cubicBezTo>
                    <a:pt x="1391" y="28"/>
                    <a:pt x="1391" y="28"/>
                    <a:pt x="1391" y="28"/>
                  </a:cubicBezTo>
                  <a:cubicBezTo>
                    <a:pt x="1388" y="28"/>
                    <a:pt x="1388" y="28"/>
                    <a:pt x="1388" y="28"/>
                  </a:cubicBezTo>
                  <a:cubicBezTo>
                    <a:pt x="1384" y="16"/>
                    <a:pt x="1384" y="16"/>
                    <a:pt x="1384" y="16"/>
                  </a:cubicBezTo>
                  <a:cubicBezTo>
                    <a:pt x="1383" y="12"/>
                    <a:pt x="1382" y="9"/>
                    <a:pt x="1382" y="5"/>
                  </a:cubicBezTo>
                  <a:cubicBezTo>
                    <a:pt x="1382" y="5"/>
                    <a:pt x="1382" y="5"/>
                    <a:pt x="1382" y="5"/>
                  </a:cubicBezTo>
                  <a:cubicBezTo>
                    <a:pt x="1382" y="9"/>
                    <a:pt x="1381" y="13"/>
                    <a:pt x="1381" y="17"/>
                  </a:cubicBezTo>
                  <a:cubicBezTo>
                    <a:pt x="1381" y="28"/>
                    <a:pt x="1381" y="28"/>
                    <a:pt x="1381" y="28"/>
                  </a:cubicBezTo>
                  <a:cubicBezTo>
                    <a:pt x="1376" y="28"/>
                    <a:pt x="1376" y="28"/>
                    <a:pt x="1376" y="28"/>
                  </a:cubicBezTo>
                  <a:cubicBezTo>
                    <a:pt x="1378" y="0"/>
                    <a:pt x="1378" y="0"/>
                    <a:pt x="1378" y="0"/>
                  </a:cubicBezTo>
                  <a:cubicBezTo>
                    <a:pt x="1384" y="0"/>
                    <a:pt x="1384" y="0"/>
                    <a:pt x="1384" y="0"/>
                  </a:cubicBezTo>
                  <a:cubicBezTo>
                    <a:pt x="1387" y="12"/>
                    <a:pt x="1387" y="12"/>
                    <a:pt x="1387" y="12"/>
                  </a:cubicBezTo>
                  <a:cubicBezTo>
                    <a:pt x="1388" y="15"/>
                    <a:pt x="1389" y="18"/>
                    <a:pt x="1390" y="21"/>
                  </a:cubicBezTo>
                  <a:cubicBezTo>
                    <a:pt x="1390" y="21"/>
                    <a:pt x="1390" y="21"/>
                    <a:pt x="1390" y="21"/>
                  </a:cubicBezTo>
                  <a:cubicBezTo>
                    <a:pt x="1390" y="18"/>
                    <a:pt x="1391" y="15"/>
                    <a:pt x="1392" y="11"/>
                  </a:cubicBezTo>
                  <a:cubicBezTo>
                    <a:pt x="1396" y="0"/>
                    <a:pt x="1396" y="0"/>
                    <a:pt x="1396" y="0"/>
                  </a:cubicBezTo>
                  <a:cubicBezTo>
                    <a:pt x="1402" y="0"/>
                    <a:pt x="1402" y="0"/>
                    <a:pt x="1402" y="0"/>
                  </a:cubicBezTo>
                  <a:cubicBezTo>
                    <a:pt x="1403" y="28"/>
                    <a:pt x="1403" y="28"/>
                    <a:pt x="1403" y="28"/>
                  </a:cubicBezTo>
                  <a:cubicBezTo>
                    <a:pt x="1399" y="28"/>
                    <a:pt x="1399" y="28"/>
                    <a:pt x="1399" y="28"/>
                  </a:cubicBezTo>
                  <a:lnTo>
                    <a:pt x="139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Rectangle 39"/>
            <p:cNvSpPr>
              <a:spLocks noChangeArrowheads="1"/>
            </p:cNvSpPr>
            <p:nvPr userDrawn="1"/>
          </p:nvSpPr>
          <p:spPr bwMode="auto">
            <a:xfrm>
              <a:off x="3614" y="2424"/>
              <a:ext cx="64" cy="27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40"/>
            <p:cNvSpPr>
              <a:spLocks/>
            </p:cNvSpPr>
            <p:nvPr userDrawn="1"/>
          </p:nvSpPr>
          <p:spPr bwMode="auto">
            <a:xfrm>
              <a:off x="4545" y="2424"/>
              <a:ext cx="281" cy="279"/>
            </a:xfrm>
            <a:custGeom>
              <a:avLst/>
              <a:gdLst>
                <a:gd name="T0" fmla="*/ 109 w 281"/>
                <a:gd name="T1" fmla="*/ 66 h 279"/>
                <a:gd name="T2" fmla="*/ 0 w 281"/>
                <a:gd name="T3" fmla="*/ 66 h 279"/>
                <a:gd name="T4" fmla="*/ 0 w 281"/>
                <a:gd name="T5" fmla="*/ 0 h 279"/>
                <a:gd name="T6" fmla="*/ 281 w 281"/>
                <a:gd name="T7" fmla="*/ 0 h 279"/>
                <a:gd name="T8" fmla="*/ 281 w 281"/>
                <a:gd name="T9" fmla="*/ 66 h 279"/>
                <a:gd name="T10" fmla="*/ 173 w 281"/>
                <a:gd name="T11" fmla="*/ 66 h 279"/>
                <a:gd name="T12" fmla="*/ 173 w 281"/>
                <a:gd name="T13" fmla="*/ 279 h 279"/>
                <a:gd name="T14" fmla="*/ 109 w 281"/>
                <a:gd name="T15" fmla="*/ 279 h 279"/>
                <a:gd name="T16" fmla="*/ 109 w 281"/>
                <a:gd name="T17" fmla="*/ 6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279">
                  <a:moveTo>
                    <a:pt x="109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281" y="0"/>
                  </a:lnTo>
                  <a:lnTo>
                    <a:pt x="281" y="66"/>
                  </a:lnTo>
                  <a:lnTo>
                    <a:pt x="173" y="66"/>
                  </a:lnTo>
                  <a:lnTo>
                    <a:pt x="173" y="279"/>
                  </a:lnTo>
                  <a:lnTo>
                    <a:pt x="109" y="279"/>
                  </a:lnTo>
                  <a:lnTo>
                    <a:pt x="10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41"/>
            <p:cNvSpPr>
              <a:spLocks/>
            </p:cNvSpPr>
            <p:nvPr userDrawn="1"/>
          </p:nvSpPr>
          <p:spPr bwMode="auto">
            <a:xfrm>
              <a:off x="2721" y="2422"/>
              <a:ext cx="423" cy="285"/>
            </a:xfrm>
            <a:custGeom>
              <a:avLst/>
              <a:gdLst>
                <a:gd name="T0" fmla="*/ 213 w 423"/>
                <a:gd name="T1" fmla="*/ 125 h 285"/>
                <a:gd name="T2" fmla="*/ 121 w 423"/>
                <a:gd name="T3" fmla="*/ 285 h 285"/>
                <a:gd name="T4" fmla="*/ 0 w 423"/>
                <a:gd name="T5" fmla="*/ 2 h 285"/>
                <a:gd name="T6" fmla="*/ 69 w 423"/>
                <a:gd name="T7" fmla="*/ 2 h 285"/>
                <a:gd name="T8" fmla="*/ 128 w 423"/>
                <a:gd name="T9" fmla="*/ 146 h 285"/>
                <a:gd name="T10" fmla="*/ 213 w 423"/>
                <a:gd name="T11" fmla="*/ 0 h 285"/>
                <a:gd name="T12" fmla="*/ 296 w 423"/>
                <a:gd name="T13" fmla="*/ 144 h 285"/>
                <a:gd name="T14" fmla="*/ 355 w 423"/>
                <a:gd name="T15" fmla="*/ 2 h 285"/>
                <a:gd name="T16" fmla="*/ 423 w 423"/>
                <a:gd name="T17" fmla="*/ 2 h 285"/>
                <a:gd name="T18" fmla="*/ 305 w 423"/>
                <a:gd name="T19" fmla="*/ 285 h 285"/>
                <a:gd name="T20" fmla="*/ 213 w 423"/>
                <a:gd name="T21" fmla="*/ 1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3" h="285">
                  <a:moveTo>
                    <a:pt x="213" y="125"/>
                  </a:moveTo>
                  <a:lnTo>
                    <a:pt x="121" y="285"/>
                  </a:lnTo>
                  <a:lnTo>
                    <a:pt x="0" y="2"/>
                  </a:lnTo>
                  <a:lnTo>
                    <a:pt x="69" y="2"/>
                  </a:lnTo>
                  <a:lnTo>
                    <a:pt x="128" y="146"/>
                  </a:lnTo>
                  <a:lnTo>
                    <a:pt x="213" y="0"/>
                  </a:lnTo>
                  <a:lnTo>
                    <a:pt x="296" y="144"/>
                  </a:lnTo>
                  <a:lnTo>
                    <a:pt x="355" y="2"/>
                  </a:lnTo>
                  <a:lnTo>
                    <a:pt x="423" y="2"/>
                  </a:lnTo>
                  <a:lnTo>
                    <a:pt x="305" y="285"/>
                  </a:lnTo>
                  <a:lnTo>
                    <a:pt x="213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42"/>
            <p:cNvSpPr>
              <a:spLocks noEditPoints="1"/>
            </p:cNvSpPr>
            <p:nvPr userDrawn="1"/>
          </p:nvSpPr>
          <p:spPr bwMode="auto">
            <a:xfrm>
              <a:off x="3232" y="2424"/>
              <a:ext cx="288" cy="279"/>
            </a:xfrm>
            <a:custGeom>
              <a:avLst/>
              <a:gdLst>
                <a:gd name="T0" fmla="*/ 0 w 122"/>
                <a:gd name="T1" fmla="*/ 0 h 118"/>
                <a:gd name="T2" fmla="*/ 79 w 122"/>
                <a:gd name="T3" fmla="*/ 0 h 118"/>
                <a:gd name="T4" fmla="*/ 116 w 122"/>
                <a:gd name="T5" fmla="*/ 39 h 118"/>
                <a:gd name="T6" fmla="*/ 85 w 122"/>
                <a:gd name="T7" fmla="*/ 76 h 118"/>
                <a:gd name="T8" fmla="*/ 122 w 122"/>
                <a:gd name="T9" fmla="*/ 118 h 118"/>
                <a:gd name="T10" fmla="*/ 89 w 122"/>
                <a:gd name="T11" fmla="*/ 118 h 118"/>
                <a:gd name="T12" fmla="*/ 53 w 122"/>
                <a:gd name="T13" fmla="*/ 77 h 118"/>
                <a:gd name="T14" fmla="*/ 27 w 122"/>
                <a:gd name="T15" fmla="*/ 77 h 118"/>
                <a:gd name="T16" fmla="*/ 27 w 122"/>
                <a:gd name="T17" fmla="*/ 118 h 118"/>
                <a:gd name="T18" fmla="*/ 0 w 122"/>
                <a:gd name="T19" fmla="*/ 118 h 118"/>
                <a:gd name="T20" fmla="*/ 0 w 122"/>
                <a:gd name="T21" fmla="*/ 0 h 118"/>
                <a:gd name="T22" fmla="*/ 27 w 122"/>
                <a:gd name="T23" fmla="*/ 53 h 118"/>
                <a:gd name="T24" fmla="*/ 76 w 122"/>
                <a:gd name="T25" fmla="*/ 53 h 118"/>
                <a:gd name="T26" fmla="*/ 90 w 122"/>
                <a:gd name="T27" fmla="*/ 39 h 118"/>
                <a:gd name="T28" fmla="*/ 76 w 122"/>
                <a:gd name="T29" fmla="*/ 25 h 118"/>
                <a:gd name="T30" fmla="*/ 27 w 122"/>
                <a:gd name="T31" fmla="*/ 25 h 118"/>
                <a:gd name="T32" fmla="*/ 27 w 122"/>
                <a:gd name="T33" fmla="*/ 5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118">
                  <a:moveTo>
                    <a:pt x="0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100" y="1"/>
                    <a:pt x="116" y="18"/>
                    <a:pt x="116" y="39"/>
                  </a:cubicBezTo>
                  <a:cubicBezTo>
                    <a:pt x="116" y="57"/>
                    <a:pt x="103" y="73"/>
                    <a:pt x="85" y="76"/>
                  </a:cubicBezTo>
                  <a:cubicBezTo>
                    <a:pt x="122" y="118"/>
                    <a:pt x="122" y="118"/>
                    <a:pt x="122" y="118"/>
                  </a:cubicBezTo>
                  <a:cubicBezTo>
                    <a:pt x="89" y="118"/>
                    <a:pt x="89" y="118"/>
                    <a:pt x="89" y="11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118"/>
                    <a:pt x="27" y="118"/>
                    <a:pt x="27" y="118"/>
                  </a:cubicBezTo>
                  <a:cubicBezTo>
                    <a:pt x="0" y="118"/>
                    <a:pt x="0" y="118"/>
                    <a:pt x="0" y="118"/>
                  </a:cubicBezTo>
                  <a:lnTo>
                    <a:pt x="0" y="0"/>
                  </a:lnTo>
                  <a:close/>
                  <a:moveTo>
                    <a:pt x="27" y="53"/>
                  </a:moveTo>
                  <a:cubicBezTo>
                    <a:pt x="35" y="53"/>
                    <a:pt x="76" y="53"/>
                    <a:pt x="76" y="53"/>
                  </a:cubicBezTo>
                  <a:cubicBezTo>
                    <a:pt x="84" y="53"/>
                    <a:pt x="90" y="46"/>
                    <a:pt x="90" y="39"/>
                  </a:cubicBezTo>
                  <a:cubicBezTo>
                    <a:pt x="90" y="31"/>
                    <a:pt x="84" y="25"/>
                    <a:pt x="76" y="25"/>
                  </a:cubicBezTo>
                  <a:cubicBezTo>
                    <a:pt x="76" y="25"/>
                    <a:pt x="27" y="25"/>
                    <a:pt x="27" y="25"/>
                  </a:cubicBezTo>
                  <a:lnTo>
                    <a:pt x="2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43"/>
            <p:cNvSpPr>
              <a:spLocks/>
            </p:cNvSpPr>
            <p:nvPr userDrawn="1"/>
          </p:nvSpPr>
          <p:spPr bwMode="auto">
            <a:xfrm>
              <a:off x="4169" y="2424"/>
              <a:ext cx="284" cy="279"/>
            </a:xfrm>
            <a:custGeom>
              <a:avLst/>
              <a:gdLst>
                <a:gd name="T0" fmla="*/ 218 w 284"/>
                <a:gd name="T1" fmla="*/ 168 h 279"/>
                <a:gd name="T2" fmla="*/ 64 w 284"/>
                <a:gd name="T3" fmla="*/ 168 h 279"/>
                <a:gd name="T4" fmla="*/ 64 w 284"/>
                <a:gd name="T5" fmla="*/ 279 h 279"/>
                <a:gd name="T6" fmla="*/ 0 w 284"/>
                <a:gd name="T7" fmla="*/ 279 h 279"/>
                <a:gd name="T8" fmla="*/ 0 w 284"/>
                <a:gd name="T9" fmla="*/ 0 h 279"/>
                <a:gd name="T10" fmla="*/ 64 w 284"/>
                <a:gd name="T11" fmla="*/ 0 h 279"/>
                <a:gd name="T12" fmla="*/ 64 w 284"/>
                <a:gd name="T13" fmla="*/ 111 h 279"/>
                <a:gd name="T14" fmla="*/ 218 w 284"/>
                <a:gd name="T15" fmla="*/ 111 h 279"/>
                <a:gd name="T16" fmla="*/ 218 w 284"/>
                <a:gd name="T17" fmla="*/ 0 h 279"/>
                <a:gd name="T18" fmla="*/ 284 w 284"/>
                <a:gd name="T19" fmla="*/ 0 h 279"/>
                <a:gd name="T20" fmla="*/ 284 w 284"/>
                <a:gd name="T21" fmla="*/ 279 h 279"/>
                <a:gd name="T22" fmla="*/ 218 w 284"/>
                <a:gd name="T23" fmla="*/ 279 h 279"/>
                <a:gd name="T24" fmla="*/ 218 w 284"/>
                <a:gd name="T25" fmla="*/ 168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279">
                  <a:moveTo>
                    <a:pt x="218" y="168"/>
                  </a:moveTo>
                  <a:lnTo>
                    <a:pt x="64" y="168"/>
                  </a:lnTo>
                  <a:lnTo>
                    <a:pt x="64" y="279"/>
                  </a:lnTo>
                  <a:lnTo>
                    <a:pt x="0" y="27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111"/>
                  </a:lnTo>
                  <a:lnTo>
                    <a:pt x="218" y="111"/>
                  </a:lnTo>
                  <a:lnTo>
                    <a:pt x="218" y="0"/>
                  </a:lnTo>
                  <a:lnTo>
                    <a:pt x="284" y="0"/>
                  </a:lnTo>
                  <a:lnTo>
                    <a:pt x="284" y="279"/>
                  </a:lnTo>
                  <a:lnTo>
                    <a:pt x="218" y="279"/>
                  </a:lnTo>
                  <a:lnTo>
                    <a:pt x="218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44"/>
            <p:cNvSpPr>
              <a:spLocks/>
            </p:cNvSpPr>
            <p:nvPr userDrawn="1"/>
          </p:nvSpPr>
          <p:spPr bwMode="auto">
            <a:xfrm>
              <a:off x="3780" y="2424"/>
              <a:ext cx="312" cy="281"/>
            </a:xfrm>
            <a:custGeom>
              <a:avLst/>
              <a:gdLst>
                <a:gd name="T0" fmla="*/ 66 w 132"/>
                <a:gd name="T1" fmla="*/ 119 h 119"/>
                <a:gd name="T2" fmla="*/ 0 w 132"/>
                <a:gd name="T3" fmla="*/ 59 h 119"/>
                <a:gd name="T4" fmla="*/ 66 w 132"/>
                <a:gd name="T5" fmla="*/ 0 h 119"/>
                <a:gd name="T6" fmla="*/ 115 w 132"/>
                <a:gd name="T7" fmla="*/ 20 h 119"/>
                <a:gd name="T8" fmla="*/ 116 w 132"/>
                <a:gd name="T9" fmla="*/ 21 h 119"/>
                <a:gd name="T10" fmla="*/ 94 w 132"/>
                <a:gd name="T11" fmla="*/ 37 h 119"/>
                <a:gd name="T12" fmla="*/ 93 w 132"/>
                <a:gd name="T13" fmla="*/ 36 h 119"/>
                <a:gd name="T14" fmla="*/ 66 w 132"/>
                <a:gd name="T15" fmla="*/ 25 h 119"/>
                <a:gd name="T16" fmla="*/ 28 w 132"/>
                <a:gd name="T17" fmla="*/ 59 h 119"/>
                <a:gd name="T18" fmla="*/ 66 w 132"/>
                <a:gd name="T19" fmla="*/ 93 h 119"/>
                <a:gd name="T20" fmla="*/ 99 w 132"/>
                <a:gd name="T21" fmla="*/ 74 h 119"/>
                <a:gd name="T22" fmla="*/ 60 w 132"/>
                <a:gd name="T23" fmla="*/ 74 h 119"/>
                <a:gd name="T24" fmla="*/ 60 w 132"/>
                <a:gd name="T25" fmla="*/ 50 h 119"/>
                <a:gd name="T26" fmla="*/ 131 w 132"/>
                <a:gd name="T27" fmla="*/ 50 h 119"/>
                <a:gd name="T28" fmla="*/ 131 w 132"/>
                <a:gd name="T29" fmla="*/ 51 h 119"/>
                <a:gd name="T30" fmla="*/ 132 w 132"/>
                <a:gd name="T31" fmla="*/ 59 h 119"/>
                <a:gd name="T32" fmla="*/ 66 w 132"/>
                <a:gd name="T3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119">
                  <a:moveTo>
                    <a:pt x="66" y="119"/>
                  </a:moveTo>
                  <a:cubicBezTo>
                    <a:pt x="29" y="119"/>
                    <a:pt x="0" y="92"/>
                    <a:pt x="0" y="59"/>
                  </a:cubicBezTo>
                  <a:cubicBezTo>
                    <a:pt x="0" y="26"/>
                    <a:pt x="29" y="0"/>
                    <a:pt x="66" y="0"/>
                  </a:cubicBezTo>
                  <a:cubicBezTo>
                    <a:pt x="85" y="0"/>
                    <a:pt x="103" y="7"/>
                    <a:pt x="115" y="20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86" y="29"/>
                    <a:pt x="76" y="25"/>
                    <a:pt x="66" y="25"/>
                  </a:cubicBezTo>
                  <a:cubicBezTo>
                    <a:pt x="45" y="25"/>
                    <a:pt x="28" y="41"/>
                    <a:pt x="28" y="59"/>
                  </a:cubicBezTo>
                  <a:cubicBezTo>
                    <a:pt x="28" y="78"/>
                    <a:pt x="45" y="93"/>
                    <a:pt x="66" y="93"/>
                  </a:cubicBezTo>
                  <a:cubicBezTo>
                    <a:pt x="80" y="93"/>
                    <a:pt x="93" y="86"/>
                    <a:pt x="99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31" y="54"/>
                    <a:pt x="132" y="57"/>
                    <a:pt x="132" y="59"/>
                  </a:cubicBezTo>
                  <a:cubicBezTo>
                    <a:pt x="132" y="92"/>
                    <a:pt x="102" y="119"/>
                    <a:pt x="66" y="1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18078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Tahoma"/>
                <a:cs typeface="Tahom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6569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ahoma"/>
                <a:cs typeface="Tahoma"/>
              </a:defRPr>
            </a:lvl1pPr>
            <a:lvl2pPr>
              <a:defRPr sz="2400">
                <a:latin typeface="Tahoma"/>
                <a:cs typeface="Tahoma"/>
              </a:defRPr>
            </a:lvl2pPr>
            <a:lvl3pPr>
              <a:defRPr sz="2000">
                <a:latin typeface="Tahoma"/>
                <a:cs typeface="Tahoma"/>
              </a:defRPr>
            </a:lvl3pPr>
            <a:lvl4pPr>
              <a:defRPr sz="1800">
                <a:latin typeface="Tahoma"/>
                <a:cs typeface="Tahoma"/>
              </a:defRPr>
            </a:lvl4pPr>
            <a:lvl5pPr>
              <a:defRPr sz="18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Tahoma"/>
                <a:cs typeface="Tahoma"/>
              </a:defRPr>
            </a:lvl1pPr>
            <a:lvl2pPr>
              <a:defRPr sz="2400">
                <a:latin typeface="Tahoma"/>
                <a:cs typeface="Tahoma"/>
              </a:defRPr>
            </a:lvl2pPr>
            <a:lvl3pPr>
              <a:defRPr sz="2000">
                <a:latin typeface="Tahoma"/>
                <a:cs typeface="Tahoma"/>
              </a:defRPr>
            </a:lvl3pPr>
            <a:lvl4pPr>
              <a:defRPr sz="1800">
                <a:latin typeface="Tahoma"/>
                <a:cs typeface="Tahoma"/>
              </a:defRPr>
            </a:lvl4pPr>
            <a:lvl5pPr>
              <a:defRPr sz="18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366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ahoma"/>
                <a:cs typeface="Tahoma"/>
              </a:defRPr>
            </a:lvl1pPr>
            <a:lvl2pPr>
              <a:defRPr sz="2000">
                <a:latin typeface="Tahoma"/>
                <a:cs typeface="Tahoma"/>
              </a:defRPr>
            </a:lvl2pPr>
            <a:lvl3pPr>
              <a:defRPr sz="1800">
                <a:latin typeface="Tahoma"/>
                <a:cs typeface="Tahoma"/>
              </a:defRPr>
            </a:lvl3pPr>
            <a:lvl4pPr>
              <a:defRPr sz="1600">
                <a:latin typeface="Tahoma"/>
                <a:cs typeface="Tahoma"/>
              </a:defRPr>
            </a:lvl4pPr>
            <a:lvl5pPr>
              <a:defRPr sz="16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ahoma"/>
                <a:cs typeface="Tahoma"/>
              </a:defRPr>
            </a:lvl1pPr>
            <a:lvl2pPr>
              <a:defRPr sz="2000">
                <a:latin typeface="Tahoma"/>
                <a:cs typeface="Tahoma"/>
              </a:defRPr>
            </a:lvl2pPr>
            <a:lvl3pPr>
              <a:defRPr sz="1800">
                <a:latin typeface="Tahoma"/>
                <a:cs typeface="Tahoma"/>
              </a:defRPr>
            </a:lvl3pPr>
            <a:lvl4pPr>
              <a:defRPr sz="1600">
                <a:latin typeface="Tahoma"/>
                <a:cs typeface="Tahoma"/>
              </a:defRPr>
            </a:lvl4pPr>
            <a:lvl5pPr>
              <a:defRPr sz="16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657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848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2114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Tahoma"/>
                <a:cs typeface="Tahoma"/>
              </a:defRPr>
            </a:lvl1pPr>
            <a:lvl2pPr>
              <a:defRPr sz="2800">
                <a:latin typeface="Tahoma"/>
                <a:cs typeface="Tahoma"/>
              </a:defRPr>
            </a:lvl2pPr>
            <a:lvl3pPr>
              <a:defRPr sz="2400">
                <a:latin typeface="Tahoma"/>
                <a:cs typeface="Tahoma"/>
              </a:defRPr>
            </a:lvl3pPr>
            <a:lvl4pPr>
              <a:defRPr sz="2000">
                <a:latin typeface="Tahoma"/>
                <a:cs typeface="Tahoma"/>
              </a:defRPr>
            </a:lvl4pPr>
            <a:lvl5pPr>
              <a:defRPr sz="2000">
                <a:latin typeface="Tahoma"/>
                <a:cs typeface="Tahom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3553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2410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>
            <a:extLst>
              <a:ext uri="{FF2B5EF4-FFF2-40B4-BE49-F238E27FC236}">
                <a16:creationId xmlns:a16="http://schemas.microsoft.com/office/drawing/2014/main" id="{35E0FA94-E4F3-4226-8301-9323C139885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122"/>
          <a:stretch>
            <a:fillRect/>
          </a:stretch>
        </p:blipFill>
        <p:spPr bwMode="auto">
          <a:xfrm>
            <a:off x="9783763" y="6169025"/>
            <a:ext cx="2390775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7">
            <a:extLst>
              <a:ext uri="{FF2B5EF4-FFF2-40B4-BE49-F238E27FC236}">
                <a16:creationId xmlns:a16="http://schemas.microsoft.com/office/drawing/2014/main" id="{BFBAD4D7-76DA-42B5-BDD5-AE370CA018A1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5488"/>
            <a:ext cx="2533650" cy="232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97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Geneva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Geneva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Geneva" charset="0"/>
          <a:cs typeface="Geneva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Geneva" charset="0"/>
          <a:cs typeface="Geneva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>
            <a:extLst>
              <a:ext uri="{FF2B5EF4-FFF2-40B4-BE49-F238E27FC236}">
                <a16:creationId xmlns:a16="http://schemas.microsoft.com/office/drawing/2014/main" id="{35E0FA94-E4F3-4226-8301-9323C139885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122"/>
          <a:stretch>
            <a:fillRect/>
          </a:stretch>
        </p:blipFill>
        <p:spPr bwMode="auto">
          <a:xfrm>
            <a:off x="9783763" y="6169025"/>
            <a:ext cx="2390775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7">
            <a:extLst>
              <a:ext uri="{FF2B5EF4-FFF2-40B4-BE49-F238E27FC236}">
                <a16:creationId xmlns:a16="http://schemas.microsoft.com/office/drawing/2014/main" id="{BFBAD4D7-76DA-42B5-BDD5-AE370CA018A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5488"/>
            <a:ext cx="2533650" cy="232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97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102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Geneva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Geneva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Geneva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Geneva" charset="0"/>
          <a:cs typeface="Geneva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Geneva" charset="0"/>
          <a:cs typeface="Geneva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Geneva" charset="0"/>
          <a:cs typeface="Geneva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ument Extended Book"/>
              <a:ea typeface="+mn-ea"/>
              <a:cs typeface="+mn-cs"/>
              <a:sym typeface="Monument Extended Book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72118" y="1525789"/>
            <a:ext cx="6694507" cy="1421928"/>
          </a:xfrm>
        </p:spPr>
        <p:txBody>
          <a:bodyPr/>
          <a:lstStyle/>
          <a:p>
            <a:r>
              <a:rPr lang="en-US" sz="4800" dirty="0">
                <a:latin typeface="Arial" panose="020B0604020202020204" pitchFamily="34" charset="0"/>
              </a:rPr>
              <a:t>Wrightbus Hydroliner</a:t>
            </a:r>
            <a:br>
              <a:rPr lang="en-US" sz="4800" dirty="0">
                <a:latin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</a:rPr>
              <a:t>Introduction </a:t>
            </a:r>
            <a:br>
              <a:rPr lang="en-US" sz="4800" dirty="0">
                <a:latin typeface="Arial" panose="020B0604020202020204" pitchFamily="34" charset="0"/>
              </a:rPr>
            </a:br>
            <a:br>
              <a:rPr lang="en-US" sz="4800" dirty="0">
                <a:latin typeface="Arial" panose="020B0604020202020204" pitchFamily="34" charset="0"/>
              </a:rPr>
            </a:br>
            <a:br>
              <a:rPr lang="en-US" sz="4800" dirty="0">
                <a:latin typeface="Arial" panose="020B0604020202020204" pitchFamily="34" charset="0"/>
              </a:rPr>
            </a:br>
            <a:br>
              <a:rPr lang="en-US" sz="4800" dirty="0">
                <a:latin typeface="Arial" panose="020B0604020202020204" pitchFamily="34" charset="0"/>
              </a:rPr>
            </a:br>
            <a:r>
              <a:rPr lang="en-US" sz="3200" dirty="0">
                <a:latin typeface="Arial" panose="020B0604020202020204" pitchFamily="34" charset="0"/>
              </a:rPr>
              <a:t>Driving a greener future </a:t>
            </a:r>
            <a:br>
              <a:rPr lang="en-US" sz="4800" dirty="0">
                <a:latin typeface="Arial" panose="020B0604020202020204" pitchFamily="34" charset="0"/>
              </a:rPr>
            </a:br>
            <a:endParaRPr lang="en-US" sz="4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8632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1D795E71-0E5E-D071-7412-E34C8C8CEA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41" t="36043" r="8424"/>
          <a:stretch/>
        </p:blipFill>
        <p:spPr bwMode="auto">
          <a:xfrm>
            <a:off x="3610465" y="1838750"/>
            <a:ext cx="7324628" cy="4123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>
            <a:extLst>
              <a:ext uri="{FF2B5EF4-FFF2-40B4-BE49-F238E27FC236}">
                <a16:creationId xmlns:a16="http://schemas.microsoft.com/office/drawing/2014/main" id="{9CCF72E4-3F11-203D-F745-940172088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10" y="1256139"/>
            <a:ext cx="3420797" cy="1255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8BAE0F2B-3913-E3F4-25BB-5E346DBC3986}"/>
              </a:ext>
            </a:extLst>
          </p:cNvPr>
          <p:cNvCxnSpPr>
            <a:cxnSpLocks/>
          </p:cNvCxnSpPr>
          <p:nvPr/>
        </p:nvCxnSpPr>
        <p:spPr>
          <a:xfrm>
            <a:off x="3393649" y="2431804"/>
            <a:ext cx="1102937" cy="683344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B3CB2FD0-72F5-6005-BF2D-7E79FC78FB49}"/>
              </a:ext>
            </a:extLst>
          </p:cNvPr>
          <p:cNvCxnSpPr>
            <a:cxnSpLocks/>
          </p:cNvCxnSpPr>
          <p:nvPr/>
        </p:nvCxnSpPr>
        <p:spPr>
          <a:xfrm>
            <a:off x="2766767" y="2442490"/>
            <a:ext cx="1880647" cy="1148288"/>
          </a:xfrm>
          <a:prstGeom prst="bentConnector3">
            <a:avLst>
              <a:gd name="adj1" fmla="val 25940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171" name="Picture 3">
            <a:extLst>
              <a:ext uri="{FF2B5EF4-FFF2-40B4-BE49-F238E27FC236}">
                <a16:creationId xmlns:a16="http://schemas.microsoft.com/office/drawing/2014/main" id="{1591112F-5F12-4136-A32F-199660025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882" y="4085798"/>
            <a:ext cx="3032125" cy="151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C897709-24B9-973A-2BC1-A47AAA4E2AE7}"/>
              </a:ext>
            </a:extLst>
          </p:cNvPr>
          <p:cNvSpPr txBox="1"/>
          <p:nvPr/>
        </p:nvSpPr>
        <p:spPr>
          <a:xfrm>
            <a:off x="1431022" y="5604526"/>
            <a:ext cx="2332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70C0"/>
                </a:solidFill>
              </a:rPr>
              <a:t>Ballard 85kW Fuel Cell 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56E0935-B054-85E9-3BC4-AF39FBA8435D}"/>
              </a:ext>
            </a:extLst>
          </p:cNvPr>
          <p:cNvCxnSpPr>
            <a:cxnSpLocks/>
          </p:cNvCxnSpPr>
          <p:nvPr/>
        </p:nvCxnSpPr>
        <p:spPr>
          <a:xfrm flipV="1">
            <a:off x="3707090" y="3900339"/>
            <a:ext cx="1102937" cy="716976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060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image003">
            <a:extLst>
              <a:ext uri="{FF2B5EF4-FFF2-40B4-BE49-F238E27FC236}">
                <a16:creationId xmlns:a16="http://schemas.microsoft.com/office/drawing/2014/main" id="{DA518729-AE36-61E9-DA2C-8EED12AE8E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91" y="1072760"/>
            <a:ext cx="10635617" cy="5697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56FAA19-55B0-C942-7A66-F011DCAF8FAC}"/>
              </a:ext>
            </a:extLst>
          </p:cNvPr>
          <p:cNvSpPr txBox="1"/>
          <p:nvPr/>
        </p:nvSpPr>
        <p:spPr>
          <a:xfrm>
            <a:off x="2499674" y="386498"/>
            <a:ext cx="7494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treetdeck</a:t>
            </a:r>
            <a:r>
              <a:rPr lang="en-GB" sz="24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Hydroliner Component Overview</a:t>
            </a:r>
          </a:p>
        </p:txBody>
      </p:sp>
    </p:spTree>
    <p:extLst>
      <p:ext uri="{BB962C8B-B14F-4D97-AF65-F5344CB8AC3E}">
        <p14:creationId xmlns:p14="http://schemas.microsoft.com/office/powerpoint/2010/main" val="2893140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D9D72-58F2-430F-9957-EB31AEBCA3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09800" y="2130425"/>
            <a:ext cx="7772400" cy="1470025"/>
          </a:xfrm>
        </p:spPr>
        <p:txBody>
          <a:bodyPr>
            <a:normAutofit fontScale="90000"/>
          </a:bodyPr>
          <a:lstStyle/>
          <a:p>
            <a:pPr>
              <a:defRPr/>
            </a:pPr>
            <a:br>
              <a:rPr lang="en-GB" dirty="0"/>
            </a:br>
            <a:br>
              <a:rPr lang="en-GB" dirty="0"/>
            </a:br>
            <a:r>
              <a:rPr lang="en-GB" b="1" dirty="0"/>
              <a:t>Thank You 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FC162339-34A9-454E-8AB3-E8B6A155D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2556" y="1802153"/>
            <a:ext cx="2946888" cy="140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0B879567-7502-A2C7-EC19-E1E941C72B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150" y="789751"/>
            <a:ext cx="5195938" cy="6068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1C68F58-C880-5EB8-39C0-99FF093907F7}"/>
              </a:ext>
            </a:extLst>
          </p:cNvPr>
          <p:cNvSpPr txBox="1"/>
          <p:nvPr/>
        </p:nvSpPr>
        <p:spPr>
          <a:xfrm>
            <a:off x="3261674" y="244803"/>
            <a:ext cx="60708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00B0F0"/>
                </a:solidFill>
                <a:latin typeface="Rockwell Nova Extra Bold" panose="020B0604020202020204" pitchFamily="18" charset="0"/>
              </a:rPr>
              <a:t>Wrightbus – Our History </a:t>
            </a:r>
          </a:p>
        </p:txBody>
      </p:sp>
    </p:spTree>
    <p:extLst>
      <p:ext uri="{BB962C8B-B14F-4D97-AF65-F5344CB8AC3E}">
        <p14:creationId xmlns:p14="http://schemas.microsoft.com/office/powerpoint/2010/main" val="11235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5FCD5-7970-79AB-CE51-963A95BCB1EF}"/>
              </a:ext>
            </a:extLst>
          </p:cNvPr>
          <p:cNvSpPr txBox="1"/>
          <p:nvPr/>
        </p:nvSpPr>
        <p:spPr>
          <a:xfrm>
            <a:off x="3461994" y="87313"/>
            <a:ext cx="6094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rgbClr val="00B0F0"/>
                </a:solidFill>
                <a:latin typeface="Rockwell Nova Extra Bold" panose="020B0604020202020204" pitchFamily="18" charset="0"/>
              </a:rPr>
              <a:t>Wrightbus – Our History 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2B17300A-6E43-4602-AE58-0820869F9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21" y="1267938"/>
            <a:ext cx="3039202" cy="3799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>
            <a:extLst>
              <a:ext uri="{FF2B5EF4-FFF2-40B4-BE49-F238E27FC236}">
                <a16:creationId xmlns:a16="http://schemas.microsoft.com/office/drawing/2014/main" id="{4BD31818-2FFD-8064-755D-2B96D2F7C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6607" y="1285630"/>
            <a:ext cx="2980703" cy="395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>
            <a:extLst>
              <a:ext uri="{FF2B5EF4-FFF2-40B4-BE49-F238E27FC236}">
                <a16:creationId xmlns:a16="http://schemas.microsoft.com/office/drawing/2014/main" id="{FE1030BB-4874-1D8F-084A-0F467CF46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394" y="1267938"/>
            <a:ext cx="3137026" cy="397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3839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305FCD5-7970-79AB-CE51-963A95BCB1EF}"/>
              </a:ext>
            </a:extLst>
          </p:cNvPr>
          <p:cNvSpPr txBox="1"/>
          <p:nvPr/>
        </p:nvSpPr>
        <p:spPr>
          <a:xfrm>
            <a:off x="3348873" y="99212"/>
            <a:ext cx="6094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rgbClr val="00B0F0"/>
                </a:solidFill>
                <a:latin typeface="Rockwell Nova Extra Bold" panose="020B0604020202020204" pitchFamily="18" charset="0"/>
              </a:rPr>
              <a:t>Wrightbus – Our History 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C4C0B55-65E2-62BA-9E9E-8E784F69D9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099" y="1472128"/>
            <a:ext cx="3125900" cy="391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>
            <a:extLst>
              <a:ext uri="{FF2B5EF4-FFF2-40B4-BE49-F238E27FC236}">
                <a16:creationId xmlns:a16="http://schemas.microsoft.com/office/drawing/2014/main" id="{A50E6420-1538-6C76-A865-A91FA0DBF1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856" y="1472127"/>
            <a:ext cx="3125900" cy="383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5603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352EA0D3-F1E0-9688-6272-B9E3CA5C7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214" y="1264597"/>
            <a:ext cx="7191597" cy="5375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FCC24B1-C109-7322-5075-84974FFE08DB}"/>
              </a:ext>
            </a:extLst>
          </p:cNvPr>
          <p:cNvSpPr txBox="1"/>
          <p:nvPr/>
        </p:nvSpPr>
        <p:spPr>
          <a:xfrm>
            <a:off x="1885361" y="10867"/>
            <a:ext cx="826495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rightbus and the Streetdeck</a:t>
            </a:r>
            <a:r>
              <a:rPr lang="en-GB" sz="28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Hydroliner FCEV</a:t>
            </a:r>
          </a:p>
          <a:p>
            <a:pPr algn="ctr"/>
            <a:endParaRPr lang="en-GB" sz="2800" dirty="0">
              <a:solidFill>
                <a:srgbClr val="00B05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ctr"/>
            <a:r>
              <a:rPr lang="en-GB" sz="24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ay hello to Hydrogen </a:t>
            </a:r>
          </a:p>
        </p:txBody>
      </p:sp>
      <p:pic>
        <p:nvPicPr>
          <p:cNvPr id="4099" name="Picture 3">
            <a:extLst>
              <a:ext uri="{FF2B5EF4-FFF2-40B4-BE49-F238E27FC236}">
                <a16:creationId xmlns:a16="http://schemas.microsoft.com/office/drawing/2014/main" id="{1F73D2CC-4C92-C67A-1B02-1AF5E1485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646" y="2612395"/>
            <a:ext cx="4330213" cy="3253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1825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42E617-7FCF-D5C9-1344-2A7B817667B1}"/>
              </a:ext>
            </a:extLst>
          </p:cNvPr>
          <p:cNvSpPr txBox="1"/>
          <p:nvPr/>
        </p:nvSpPr>
        <p:spPr>
          <a:xfrm>
            <a:off x="1467155" y="278222"/>
            <a:ext cx="92576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rightbus Streetdeck</a:t>
            </a:r>
            <a:r>
              <a:rPr lang="en-GB" sz="24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Hydroliner</a:t>
            </a:r>
          </a:p>
          <a:p>
            <a:pPr algn="ctr"/>
            <a:r>
              <a:rPr lang="en-GB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e worlds First Hydrogen Powered Double Deck Bus </a:t>
            </a:r>
            <a:endParaRPr lang="en-GB" sz="1800" dirty="0">
              <a:solidFill>
                <a:srgbClr val="00B05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137D899-D09D-DCB3-E36D-F7D432B4C0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171" y="1313203"/>
            <a:ext cx="7900491" cy="444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A89415-436E-9C08-FD78-2289C23F8491}"/>
              </a:ext>
            </a:extLst>
          </p:cNvPr>
          <p:cNvSpPr txBox="1"/>
          <p:nvPr/>
        </p:nvSpPr>
        <p:spPr>
          <a:xfrm>
            <a:off x="1348033" y="6033155"/>
            <a:ext cx="10199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00B050"/>
                </a:solidFill>
              </a:rPr>
              <a:t>Wrightbus delivered the worlds first Hydrogen Powered Double Deck bus to Aberdeen in October 2020.  The First of a fleet of 15 vehicles to be introduced into public service by First Bus in the City in January 2021 </a:t>
            </a:r>
          </a:p>
        </p:txBody>
      </p:sp>
    </p:spTree>
    <p:extLst>
      <p:ext uri="{BB962C8B-B14F-4D97-AF65-F5344CB8AC3E}">
        <p14:creationId xmlns:p14="http://schemas.microsoft.com/office/powerpoint/2010/main" val="804631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>
            <a:extLst>
              <a:ext uri="{FF2B5EF4-FFF2-40B4-BE49-F238E27FC236}">
                <a16:creationId xmlns:a16="http://schemas.microsoft.com/office/drawing/2014/main" id="{C02707A9-419D-F103-7FED-F1F0DEFD75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188" y="925512"/>
            <a:ext cx="8455623" cy="364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9A93927-FF9C-79EB-DC9F-8FB903981BBE}"/>
              </a:ext>
            </a:extLst>
          </p:cNvPr>
          <p:cNvSpPr txBox="1"/>
          <p:nvPr/>
        </p:nvSpPr>
        <p:spPr>
          <a:xfrm>
            <a:off x="2736131" y="44748"/>
            <a:ext cx="60944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Wrightbus and the Streetdeck</a:t>
            </a:r>
            <a:r>
              <a:rPr lang="en-GB" sz="1800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Hydroliner FCEV</a:t>
            </a:r>
          </a:p>
          <a:p>
            <a:pPr algn="ctr"/>
            <a:r>
              <a:rPr lang="en-GB" dirty="0">
                <a:solidFill>
                  <a:srgbClr val="00B05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e benefits of Hydrogen </a:t>
            </a:r>
            <a:endParaRPr lang="en-GB" sz="1800" dirty="0">
              <a:solidFill>
                <a:srgbClr val="00B05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3DACB378-37E8-7557-3789-72CDD0A34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255" y="2828041"/>
            <a:ext cx="4505222" cy="162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>
            <a:extLst>
              <a:ext uri="{FF2B5EF4-FFF2-40B4-BE49-F238E27FC236}">
                <a16:creationId xmlns:a16="http://schemas.microsoft.com/office/drawing/2014/main" id="{9ADDE097-5261-380B-6516-8FEF6A6E1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21" y="4733617"/>
            <a:ext cx="2991391" cy="1479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0D4E6B42-6FA6-70DB-6783-8DDA7CBA4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730" y="4756179"/>
            <a:ext cx="2923536" cy="145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7">
            <a:extLst>
              <a:ext uri="{FF2B5EF4-FFF2-40B4-BE49-F238E27FC236}">
                <a16:creationId xmlns:a16="http://schemas.microsoft.com/office/drawing/2014/main" id="{5FBE6B3F-12C8-883D-C44E-0F4CC35BFA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485" y="4739336"/>
            <a:ext cx="3059198" cy="1457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A00C57E2-2522-534B-1A40-6C297AE4E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6902" y="4739336"/>
            <a:ext cx="2679063" cy="1434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65541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674FD025-B4EF-CEE2-EC1E-AB2EF2C99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503" y="101908"/>
            <a:ext cx="9057175" cy="612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799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774B81B7-5C36-4F67-AEF6-7B35BE1FE2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678" y="87313"/>
            <a:ext cx="17621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1D795E71-0E5E-D071-7412-E34C8C8CEA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41" t="36043" r="8424"/>
          <a:stretch/>
        </p:blipFill>
        <p:spPr bwMode="auto">
          <a:xfrm>
            <a:off x="424206" y="1367410"/>
            <a:ext cx="7324628" cy="4123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>
            <a:extLst>
              <a:ext uri="{FF2B5EF4-FFF2-40B4-BE49-F238E27FC236}">
                <a16:creationId xmlns:a16="http://schemas.microsoft.com/office/drawing/2014/main" id="{AA31FAC9-EF5F-893B-CA82-ADFD7D0BB9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433" y="2714919"/>
            <a:ext cx="4806361" cy="2413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8108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ZJ9llVRwlJhf.4uB6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87</TotalTime>
  <Words>108</Words>
  <Application>Microsoft Office PowerPoint</Application>
  <PresentationFormat>Widescreen</PresentationFormat>
  <Paragraphs>16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haroni</vt:lpstr>
      <vt:lpstr>Arial</vt:lpstr>
      <vt:lpstr>Calibri</vt:lpstr>
      <vt:lpstr>Monument Extended Book</vt:lpstr>
      <vt:lpstr>Rockwell Nova Extra Bold</vt:lpstr>
      <vt:lpstr>Tahoma</vt:lpstr>
      <vt:lpstr>Office Theme</vt:lpstr>
      <vt:lpstr>1_Office Theme</vt:lpstr>
      <vt:lpstr>think-cell Slide</vt:lpstr>
      <vt:lpstr>Wrightbus Hydroliner Introduction     Driving a greener future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chard smith</dc:creator>
  <cp:lastModifiedBy>Richard Montgomery</cp:lastModifiedBy>
  <cp:revision>170</cp:revision>
  <cp:lastPrinted>2020-06-09T10:54:45Z</cp:lastPrinted>
  <dcterms:created xsi:type="dcterms:W3CDTF">2013-12-18T11:27:24Z</dcterms:created>
  <dcterms:modified xsi:type="dcterms:W3CDTF">2022-10-05T20:00:20Z</dcterms:modified>
</cp:coreProperties>
</file>